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7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9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10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1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36" r:id="rId3"/>
    <p:sldMasterId id="2147483740" r:id="rId4"/>
    <p:sldMasterId id="2147483744" r:id="rId5"/>
    <p:sldMasterId id="2147483748" r:id="rId6"/>
    <p:sldMasterId id="2147483753" r:id="rId7"/>
    <p:sldMasterId id="2147483759" r:id="rId8"/>
    <p:sldMasterId id="2147483763" r:id="rId9"/>
    <p:sldMasterId id="2147483767" r:id="rId10"/>
    <p:sldMasterId id="2147483771" r:id="rId11"/>
  </p:sldMasterIdLst>
  <p:notesMasterIdLst>
    <p:notesMasterId r:id="rId13"/>
  </p:notesMasterIdLst>
  <p:sldIdLst>
    <p:sldId id="2141412243" r:id="rId12"/>
  </p:sldIdLst>
  <p:sldSz cx="12192000" cy="6858000"/>
  <p:notesSz cx="6724650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  <p:cmAuthor id="2" name="Векшина Маргарита" initials="ВМ" lastIdx="1" clrIdx="1">
    <p:extLst>
      <p:ext uri="{19B8F6BF-5375-455C-9EA6-DF929625EA0E}">
        <p15:presenceInfo xmlns:p15="http://schemas.microsoft.com/office/powerpoint/2012/main" userId="S-1-5-21-1779150601-3890996019-1273012429-21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E68"/>
    <a:srgbClr val="024EEF"/>
    <a:srgbClr val="15253E"/>
    <a:srgbClr val="FFE1EA"/>
    <a:srgbClr val="FF0000"/>
    <a:srgbClr val="00E226"/>
    <a:srgbClr val="ABABAC"/>
    <a:srgbClr val="843C0C"/>
    <a:srgbClr val="1D1551"/>
    <a:srgbClr val="1B14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588108-1E29-47DF-8EE7-A1B0C18A6493}" v="6" dt="2022-06-08T12:42:32.6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7CE84F3-28C3-443E-9E96-99CF82512B78}" styleName="Темный стиль 1 —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87" autoAdjust="0"/>
    <p:restoredTop sz="84471" autoAdjust="0"/>
  </p:normalViewPr>
  <p:slideViewPr>
    <p:cSldViewPr snapToGrid="0" showGuides="1">
      <p:cViewPr varScale="1">
        <p:scale>
          <a:sx n="95" d="100"/>
          <a:sy n="95" d="100"/>
        </p:scale>
        <p:origin x="720" y="72"/>
      </p:cViewPr>
      <p:guideLst>
        <p:guide orient="horz" pos="2115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Александр Дмитриев" userId="c1f683dcada4f97e" providerId="LiveId" clId="{6F888031-A221-4DD2-A0C7-FFE517D1834A}"/>
    <pc:docChg chg="undo custSel modSld">
      <pc:chgData name="Александр Дмитриев" userId="c1f683dcada4f97e" providerId="LiveId" clId="{6F888031-A221-4DD2-A0C7-FFE517D1834A}" dt="2022-06-08T20:23:35.972" v="18" actId="123"/>
      <pc:docMkLst>
        <pc:docMk/>
      </pc:docMkLst>
      <pc:sldChg chg="modSp mod">
        <pc:chgData name="Александр Дмитриев" userId="c1f683dcada4f97e" providerId="LiveId" clId="{6F888031-A221-4DD2-A0C7-FFE517D1834A}" dt="2022-06-08T20:23:35.972" v="18" actId="123"/>
        <pc:sldMkLst>
          <pc:docMk/>
          <pc:sldMk cId="3212416911" sldId="2141412179"/>
        </pc:sldMkLst>
        <pc:spChg chg="mod">
          <ac:chgData name="Александр Дмитриев" userId="c1f683dcada4f97e" providerId="LiveId" clId="{6F888031-A221-4DD2-A0C7-FFE517D1834A}" dt="2022-06-08T20:23:35.972" v="18" actId="123"/>
          <ac:spMkLst>
            <pc:docMk/>
            <pc:sldMk cId="3212416911" sldId="2141412179"/>
            <ac:spMk id="3" creationId="{829BD97B-3FEA-4E16-D75E-20ECE3213E23}"/>
          </ac:spMkLst>
        </pc:spChg>
      </pc:sldChg>
      <pc:sldChg chg="modSp mod">
        <pc:chgData name="Александр Дмитриев" userId="c1f683dcada4f97e" providerId="LiveId" clId="{6F888031-A221-4DD2-A0C7-FFE517D1834A}" dt="2022-06-08T20:07:57.067" v="9"/>
        <pc:sldMkLst>
          <pc:docMk/>
          <pc:sldMk cId="587891993" sldId="2141412180"/>
        </pc:sldMkLst>
        <pc:spChg chg="mod">
          <ac:chgData name="Александр Дмитриев" userId="c1f683dcada4f97e" providerId="LiveId" clId="{6F888031-A221-4DD2-A0C7-FFE517D1834A}" dt="2022-06-08T20:07:57.067" v="9"/>
          <ac:spMkLst>
            <pc:docMk/>
            <pc:sldMk cId="587891993" sldId="2141412180"/>
            <ac:spMk id="3" creationId="{829BD97B-3FEA-4E16-D75E-20ECE3213E23}"/>
          </ac:spMkLst>
        </pc:spChg>
      </pc:sldChg>
    </pc:docChg>
  </pc:docChgLst>
  <pc:docChgLst>
    <pc:chgData name="Александр Дмитриев" userId="c1f683dcada4f97e" providerId="LiveId" clId="{94588108-1E29-47DF-8EE7-A1B0C18A6493}"/>
    <pc:docChg chg="undo custSel addSld delSld modSld delMainMaster">
      <pc:chgData name="Александр Дмитриев" userId="c1f683dcada4f97e" providerId="LiveId" clId="{94588108-1E29-47DF-8EE7-A1B0C18A6493}" dt="2022-06-08T12:42:32.651" v="58" actId="1076"/>
      <pc:docMkLst>
        <pc:docMk/>
      </pc:docMkLst>
      <pc:sldChg chg="del">
        <pc:chgData name="Александр Дмитриев" userId="c1f683dcada4f97e" providerId="LiveId" clId="{94588108-1E29-47DF-8EE7-A1B0C18A6493}" dt="2022-06-08T12:38:34.098" v="37" actId="47"/>
        <pc:sldMkLst>
          <pc:docMk/>
          <pc:sldMk cId="1043084341" sldId="502"/>
        </pc:sldMkLst>
      </pc:sldChg>
      <pc:sldChg chg="addSp delSp modSp add mod modNotesTx">
        <pc:chgData name="Александр Дмитриев" userId="c1f683dcada4f97e" providerId="LiveId" clId="{94588108-1E29-47DF-8EE7-A1B0C18A6493}" dt="2022-06-08T12:42:32.651" v="58" actId="1076"/>
        <pc:sldMkLst>
          <pc:docMk/>
          <pc:sldMk cId="2413412367" sldId="2141412167"/>
        </pc:sldMkLst>
        <pc:spChg chg="mod">
          <ac:chgData name="Александр Дмитриев" userId="c1f683dcada4f97e" providerId="LiveId" clId="{94588108-1E29-47DF-8EE7-A1B0C18A6493}" dt="2022-06-08T12:42:21.485" v="56" actId="403"/>
          <ac:spMkLst>
            <pc:docMk/>
            <pc:sldMk cId="2413412367" sldId="2141412167"/>
            <ac:spMk id="2" creationId="{7B3D113B-D886-4338-99BF-C58D7F2CA9DA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" creationId="{6EF6C0FB-16CA-45A9-82F0-AA82544812FE}"/>
          </ac:spMkLst>
        </pc:spChg>
        <pc:spChg chg="del mod">
          <ac:chgData name="Александр Дмитриев" userId="c1f683dcada4f97e" providerId="LiveId" clId="{94588108-1E29-47DF-8EE7-A1B0C18A6493}" dt="2022-06-08T12:31:31.372" v="21" actId="478"/>
          <ac:spMkLst>
            <pc:docMk/>
            <pc:sldMk cId="2413412367" sldId="2141412167"/>
            <ac:spMk id="4" creationId="{ECD6E811-261F-472A-A108-ADA9044A2733}"/>
          </ac:spMkLst>
        </pc:spChg>
        <pc:spChg chg="del mod">
          <ac:chgData name="Александр Дмитриев" userId="c1f683dcada4f97e" providerId="LiveId" clId="{94588108-1E29-47DF-8EE7-A1B0C18A6493}" dt="2022-06-08T12:31:40.403" v="24" actId="478"/>
          <ac:spMkLst>
            <pc:docMk/>
            <pc:sldMk cId="2413412367" sldId="2141412167"/>
            <ac:spMk id="5" creationId="{CE21EDEB-E6D9-4ABE-BB40-20319163853E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6" creationId="{416D082C-5B46-42D8-97E9-5922888E3A7D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7" creationId="{347E0271-9D84-46B6-A251-2A33940D6749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8" creationId="{0B530DB7-3128-4EE2-8D21-5BC3D78DE9EF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9" creationId="{304E93ED-3C17-41EB-A632-A8F3F32453BF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10" creationId="{D8E36C5B-D8C9-439A-ABA7-2E399B558B01}"/>
          </ac:spMkLst>
        </pc:spChg>
        <pc:spChg chg="del">
          <ac:chgData name="Александр Дмитриев" userId="c1f683dcada4f97e" providerId="LiveId" clId="{94588108-1E29-47DF-8EE7-A1B0C18A6493}" dt="2022-06-08T12:29:24.478" v="5" actId="478"/>
          <ac:spMkLst>
            <pc:docMk/>
            <pc:sldMk cId="2413412367" sldId="2141412167"/>
            <ac:spMk id="24" creationId="{00B9B7CE-E6FE-4E45-92DD-14F99FC27382}"/>
          </ac:spMkLst>
        </pc:spChg>
        <pc:spChg chg="del mod">
          <ac:chgData name="Александр Дмитриев" userId="c1f683dcada4f97e" providerId="LiveId" clId="{94588108-1E29-47DF-8EE7-A1B0C18A6493}" dt="2022-06-08T12:31:36.621" v="23" actId="478"/>
          <ac:spMkLst>
            <pc:docMk/>
            <pc:sldMk cId="2413412367" sldId="2141412167"/>
            <ac:spMk id="25" creationId="{033FF040-BC3C-4CCD-A587-4B6CB4307E6D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28" creationId="{F6A197E4-C6FE-4089-BAA3-72DF39374E28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30" creationId="{68BACCAC-73AF-48BA-9F06-48D53DDD85F4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31" creationId="{7B4D2927-8F7B-4D35-B78B-18ACBC5F9CDE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2" creationId="{B842C47C-C871-49C5-9243-D69817C6661F}"/>
          </ac:spMkLst>
        </pc:spChg>
        <pc:spChg chg="del mod">
          <ac:chgData name="Александр Дмитриев" userId="c1f683dcada4f97e" providerId="LiveId" clId="{94588108-1E29-47DF-8EE7-A1B0C18A6493}" dt="2022-06-08T12:31:34.685" v="22" actId="478"/>
          <ac:spMkLst>
            <pc:docMk/>
            <pc:sldMk cId="2413412367" sldId="2141412167"/>
            <ac:spMk id="33" creationId="{9237021D-BC21-4AF8-BF45-15706F09F58E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4" creationId="{60935B46-E5A2-41A3-9044-F9C3326258B4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6" creationId="{3177045F-96DF-4014-AC76-4273DA79E6FB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7" creationId="{9526117C-395D-481B-92C0-79EF896CF473}"/>
          </ac:spMkLst>
        </pc:spChg>
        <pc:spChg chg="del mod">
          <ac:chgData name="Александр Дмитриев" userId="c1f683dcada4f97e" providerId="LiveId" clId="{94588108-1E29-47DF-8EE7-A1B0C18A6493}" dt="2022-06-08T12:31:40.403" v="24" actId="478"/>
          <ac:spMkLst>
            <pc:docMk/>
            <pc:sldMk cId="2413412367" sldId="2141412167"/>
            <ac:spMk id="38" creationId="{405D284B-309B-4C8C-9C0E-DDE24419325C}"/>
          </ac:spMkLst>
        </pc:spChg>
        <pc:spChg chg="del mod">
          <ac:chgData name="Александр Дмитриев" userId="c1f683dcada4f97e" providerId="LiveId" clId="{94588108-1E29-47DF-8EE7-A1B0C18A6493}" dt="2022-06-08T12:31:45.016" v="25" actId="478"/>
          <ac:spMkLst>
            <pc:docMk/>
            <pc:sldMk cId="2413412367" sldId="2141412167"/>
            <ac:spMk id="39" creationId="{E1E7BA94-B73B-4031-B56A-112278DD4083}"/>
          </ac:spMkLst>
        </pc:spChg>
        <pc:spChg chg="add del mod">
          <ac:chgData name="Александр Дмитриев" userId="c1f683dcada4f97e" providerId="LiveId" clId="{94588108-1E29-47DF-8EE7-A1B0C18A6493}" dt="2022-06-08T12:30:49.559" v="12" actId="478"/>
          <ac:spMkLst>
            <pc:docMk/>
            <pc:sldMk cId="2413412367" sldId="2141412167"/>
            <ac:spMk id="41" creationId="{C677C4BA-4A94-0E25-D8E5-978987D07941}"/>
          </ac:spMkLst>
        </pc:spChg>
        <pc:spChg chg="add mod">
          <ac:chgData name="Александр Дмитриев" userId="c1f683dcada4f97e" providerId="LiveId" clId="{94588108-1E29-47DF-8EE7-A1B0C18A6493}" dt="2022-06-08T12:39:39.541" v="54" actId="14100"/>
          <ac:spMkLst>
            <pc:docMk/>
            <pc:sldMk cId="2413412367" sldId="2141412167"/>
            <ac:spMk id="42" creationId="{F06D796F-1679-2A22-D148-D2B1EBCD59FA}"/>
          </ac:spMkLst>
        </pc:spChg>
        <pc:spChg chg="add mod">
          <ac:chgData name="Александр Дмитриев" userId="c1f683dcada4f97e" providerId="LiveId" clId="{94588108-1E29-47DF-8EE7-A1B0C18A6493}" dt="2022-06-08T12:39:30.509" v="51" actId="403"/>
          <ac:spMkLst>
            <pc:docMk/>
            <pc:sldMk cId="2413412367" sldId="2141412167"/>
            <ac:spMk id="43" creationId="{F44487F1-C423-4011-55F3-40CFC33E9A8A}"/>
          </ac:spMkLst>
        </pc:spChg>
        <pc:spChg chg="add mod">
          <ac:chgData name="Александр Дмитриев" userId="c1f683dcada4f97e" providerId="LiveId" clId="{94588108-1E29-47DF-8EE7-A1B0C18A6493}" dt="2022-06-08T12:39:11.546" v="46" actId="403"/>
          <ac:spMkLst>
            <pc:docMk/>
            <pc:sldMk cId="2413412367" sldId="2141412167"/>
            <ac:spMk id="44" creationId="{DAA6EBFD-4182-2FC5-6D51-13E54C346EF5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45" creationId="{E2D67A7A-F8A8-2A9C-764B-1196B338CDD3}"/>
          </ac:spMkLst>
        </pc:spChg>
        <pc:spChg chg="add mod">
          <ac:chgData name="Александр Дмитриев" userId="c1f683dcada4f97e" providerId="LiveId" clId="{94588108-1E29-47DF-8EE7-A1B0C18A6493}" dt="2022-06-08T12:39:27.622" v="50" actId="403"/>
          <ac:spMkLst>
            <pc:docMk/>
            <pc:sldMk cId="2413412367" sldId="2141412167"/>
            <ac:spMk id="46" creationId="{1E20310C-37C2-59E5-07D9-935D2CC00D17}"/>
          </ac:spMkLst>
        </pc:spChg>
        <pc:spChg chg="add mod">
          <ac:chgData name="Александр Дмитриев" userId="c1f683dcada4f97e" providerId="LiveId" clId="{94588108-1E29-47DF-8EE7-A1B0C18A6493}" dt="2022-06-08T12:39:22.512" v="49" actId="403"/>
          <ac:spMkLst>
            <pc:docMk/>
            <pc:sldMk cId="2413412367" sldId="2141412167"/>
            <ac:spMk id="47" creationId="{C731D009-A226-9BA7-0B93-09838EE738D3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48" creationId="{60DC1F8A-58E1-7DCA-F06A-9C7C04768692}"/>
          </ac:spMkLst>
        </pc:spChg>
        <pc:spChg chg="add mod">
          <ac:chgData name="Александр Дмитриев" userId="c1f683dcada4f97e" providerId="LiveId" clId="{94588108-1E29-47DF-8EE7-A1B0C18A6493}" dt="2022-06-08T12:39:08.827" v="45" actId="403"/>
          <ac:spMkLst>
            <pc:docMk/>
            <pc:sldMk cId="2413412367" sldId="2141412167"/>
            <ac:spMk id="49" creationId="{EAF0BEA4-ED8F-D364-73B3-AF3A225914BA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50" creationId="{18659AAC-16D0-1A90-5CA6-93385157601D}"/>
          </ac:spMkLst>
        </pc:spChg>
        <pc:spChg chg="add mod">
          <ac:chgData name="Александр Дмитриев" userId="c1f683dcada4f97e" providerId="LiveId" clId="{94588108-1E29-47DF-8EE7-A1B0C18A6493}" dt="2022-06-08T12:39:04.777" v="44" actId="403"/>
          <ac:spMkLst>
            <pc:docMk/>
            <pc:sldMk cId="2413412367" sldId="2141412167"/>
            <ac:spMk id="51" creationId="{CD090998-64B0-F869-CBD3-45EB94E68391}"/>
          </ac:spMkLst>
        </pc:spChg>
        <pc:spChg chg="add mod">
          <ac:chgData name="Александр Дмитриев" userId="c1f683dcada4f97e" providerId="LiveId" clId="{94588108-1E29-47DF-8EE7-A1B0C18A6493}" dt="2022-06-08T12:31:26.414" v="19" actId="207"/>
          <ac:spMkLst>
            <pc:docMk/>
            <pc:sldMk cId="2413412367" sldId="2141412167"/>
            <ac:spMk id="52" creationId="{72D13060-E5A2-8A3F-9ED6-CCC03F8B23E1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53" creationId="{0FB448BF-F960-A542-CB11-D758F9F0ABD2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54" creationId="{03E549EF-C4DE-63DF-0A58-11AC0F58B2A4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55" creationId="{058B84D2-A191-D920-2633-BCAF9C603E24}"/>
          </ac:spMkLst>
        </pc:spChg>
        <pc:spChg chg="add mod">
          <ac:chgData name="Александр Дмитриев" userId="c1f683dcada4f97e" providerId="LiveId" clId="{94588108-1E29-47DF-8EE7-A1B0C18A6493}" dt="2022-06-08T12:30:39.760" v="10" actId="13822"/>
          <ac:spMkLst>
            <pc:docMk/>
            <pc:sldMk cId="2413412367" sldId="2141412167"/>
            <ac:spMk id="56" creationId="{B5A4A6CD-93B4-5286-080E-5E99F45A1E26}"/>
          </ac:spMkLst>
        </pc:spChg>
        <pc:grpChg chg="del mod">
          <ac:chgData name="Александр Дмитриев" userId="c1f683dcada4f97e" providerId="LiveId" clId="{94588108-1E29-47DF-8EE7-A1B0C18A6493}" dt="2022-06-08T12:31:45.016" v="25" actId="478"/>
          <ac:grpSpMkLst>
            <pc:docMk/>
            <pc:sldMk cId="2413412367" sldId="2141412167"/>
            <ac:grpSpMk id="17" creationId="{4DFE5259-0359-4FDF-9FDC-72BDD85A4437}"/>
          </ac:grpSpMkLst>
        </pc:grpChg>
        <pc:picChg chg="add mod">
          <ac:chgData name="Александр Дмитриев" userId="c1f683dcada4f97e" providerId="LiveId" clId="{94588108-1E29-47DF-8EE7-A1B0C18A6493}" dt="2022-06-08T12:42:32.651" v="58" actId="1076"/>
          <ac:picMkLst>
            <pc:docMk/>
            <pc:sldMk cId="2413412367" sldId="2141412167"/>
            <ac:picMk id="40" creationId="{3C1EBA78-E1EE-9895-4474-0F1E4FEA07B0}"/>
          </ac:picMkLst>
        </pc:picChg>
        <pc:cxnChg chg="del mod">
          <ac:chgData name="Александр Дмитриев" userId="c1f683dcada4f97e" providerId="LiveId" clId="{94588108-1E29-47DF-8EE7-A1B0C18A6493}" dt="2022-06-08T12:31:34.685" v="22" actId="478"/>
          <ac:cxnSpMkLst>
            <pc:docMk/>
            <pc:sldMk cId="2413412367" sldId="2141412167"/>
            <ac:cxnSpMk id="11" creationId="{94BCE08D-8D73-4B4A-874E-AE64B65BFE08}"/>
          </ac:cxnSpMkLst>
        </pc:cxnChg>
        <pc:cxnChg chg="del mod">
          <ac:chgData name="Александр Дмитриев" userId="c1f683dcada4f97e" providerId="LiveId" clId="{94588108-1E29-47DF-8EE7-A1B0C18A6493}" dt="2022-06-08T12:31:34.685" v="22" actId="478"/>
          <ac:cxnSpMkLst>
            <pc:docMk/>
            <pc:sldMk cId="2413412367" sldId="2141412167"/>
            <ac:cxnSpMk id="12" creationId="{B561F8B7-311E-4968-9388-49B0FA3FFFE8}"/>
          </ac:cxnSpMkLst>
        </pc:cxnChg>
        <pc:cxnChg chg="del mod">
          <ac:chgData name="Александр Дмитриев" userId="c1f683dcada4f97e" providerId="LiveId" clId="{94588108-1E29-47DF-8EE7-A1B0C18A6493}" dt="2022-06-08T12:31:34.685" v="22" actId="478"/>
          <ac:cxnSpMkLst>
            <pc:docMk/>
            <pc:sldMk cId="2413412367" sldId="2141412167"/>
            <ac:cxnSpMk id="13" creationId="{6083E13B-4C9C-46BE-8D2B-478B62DC5F47}"/>
          </ac:cxnSpMkLst>
        </pc:cxnChg>
        <pc:cxnChg chg="del mod">
          <ac:chgData name="Александр Дмитриев" userId="c1f683dcada4f97e" providerId="LiveId" clId="{94588108-1E29-47DF-8EE7-A1B0C18A6493}" dt="2022-06-08T12:31:45.016" v="25" actId="478"/>
          <ac:cxnSpMkLst>
            <pc:docMk/>
            <pc:sldMk cId="2413412367" sldId="2141412167"/>
            <ac:cxnSpMk id="14" creationId="{30ECA67E-9587-4BCB-9E23-1D8110163C4C}"/>
          </ac:cxnSpMkLst>
        </pc:cxnChg>
        <pc:cxnChg chg="del mod">
          <ac:chgData name="Александр Дмитриев" userId="c1f683dcada4f97e" providerId="LiveId" clId="{94588108-1E29-47DF-8EE7-A1B0C18A6493}" dt="2022-06-08T12:31:45.016" v="25" actId="478"/>
          <ac:cxnSpMkLst>
            <pc:docMk/>
            <pc:sldMk cId="2413412367" sldId="2141412167"/>
            <ac:cxnSpMk id="15" creationId="{C8C575B5-B4DA-4F05-9A55-1CF1F002837C}"/>
          </ac:cxnSpMkLst>
        </pc:cxnChg>
        <pc:cxnChg chg="del mod">
          <ac:chgData name="Александр Дмитриев" userId="c1f683dcada4f97e" providerId="LiveId" clId="{94588108-1E29-47DF-8EE7-A1B0C18A6493}" dt="2022-06-08T12:31:45.016" v="25" actId="478"/>
          <ac:cxnSpMkLst>
            <pc:docMk/>
            <pc:sldMk cId="2413412367" sldId="2141412167"/>
            <ac:cxnSpMk id="16" creationId="{2DDA5937-F5F9-44BD-9616-3433D4236E26}"/>
          </ac:cxnSpMkLst>
        </pc:cxnChg>
      </pc:sldChg>
      <pc:sldMasterChg chg="del delSldLayout">
        <pc:chgData name="Александр Дмитриев" userId="c1f683dcada4f97e" providerId="LiveId" clId="{94588108-1E29-47DF-8EE7-A1B0C18A6493}" dt="2022-06-08T12:38:34.098" v="37" actId="47"/>
        <pc:sldMasterMkLst>
          <pc:docMk/>
          <pc:sldMasterMk cId="4255007662" sldId="2147483799"/>
        </pc:sldMasterMkLst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4085010658" sldId="2147483800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371587877" sldId="2147483801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2055099363" sldId="2147483802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3843070346" sldId="2147483803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4179370754" sldId="2147483804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3224731356" sldId="2147483805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1766347643" sldId="2147483806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519820224" sldId="2147483807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1990452815" sldId="2147483808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1582509696" sldId="2147483809"/>
          </pc:sldLayoutMkLst>
        </pc:sldLayoutChg>
        <pc:sldLayoutChg chg="del">
          <pc:chgData name="Александр Дмитриев" userId="c1f683dcada4f97e" providerId="LiveId" clId="{94588108-1E29-47DF-8EE7-A1B0C18A6493}" dt="2022-06-08T12:38:34.098" v="37" actId="47"/>
          <pc:sldLayoutMkLst>
            <pc:docMk/>
            <pc:sldMasterMk cId="4255007662" sldId="2147483799"/>
            <pc:sldLayoutMk cId="2956855108" sldId="214748381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4015" cy="495427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79" y="1"/>
            <a:ext cx="2914015" cy="495427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7BD536F2-6FF9-4CB9-89B5-7E8ACDB3EECF}" type="datetimeFigureOut">
              <a:rPr lang="ru-RU" smtClean="0"/>
              <a:t>30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1638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0" tIns="46145" rIns="92290" bIns="461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751983"/>
            <a:ext cx="5379720" cy="3887986"/>
          </a:xfrm>
          <a:prstGeom prst="rect">
            <a:avLst/>
          </a:prstGeom>
        </p:spPr>
        <p:txBody>
          <a:bodyPr vert="horz" lIns="92290" tIns="46145" rIns="92290" bIns="461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14015" cy="49542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79" y="9378825"/>
            <a:ext cx="2914015" cy="49542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25B20251-2E3D-4016-94E8-3494292A2F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2199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Таким образом можно заключить, что среди населения необходимо и далее проводить работу по предупреждению неблагоприятных исходов от </a:t>
            </a:r>
            <a:r>
              <a:rPr lang="en-US" dirty="0"/>
              <a:t>COVID-19</a:t>
            </a:r>
            <a:r>
              <a:rPr lang="ru-RU" dirty="0"/>
              <a:t>, в частности рекомендовать проходить повторную вакцинацию каждые 6 месяцев,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щать внимание на появление первых респираторных симптомов и не заниматься самолечением, поддерживать в состоянии компенсации хронические заболевания. Медицинские работники в свою очередь также должны проходить повторную вакцинацию каждые 6 месяцев, не пренебрегать средствами индивидуальной защиты, обеспечить на подведомственных участках контроль за сроками, прошедшими с даты последней вакцинации против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у лиц старше 60 лет и имеющих хронические сопутствующие заболевания, а также своевременно отправлять на госпитализацию пациентов, входящих в группы риск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B20251-2E3D-4016-94E8-3494292A2F6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920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2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227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04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512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191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701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2045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2774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304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0455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13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83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807530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1983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5138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699002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57000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785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641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80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627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424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454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4460528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067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460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913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88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360045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544559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54344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2">
            <a:extLst>
              <a:ext uri="{FF2B5EF4-FFF2-40B4-BE49-F238E27FC236}">
                <a16:creationId xmlns:a16="http://schemas.microsoft.com/office/drawing/2014/main" xmlns="" id="{6780852C-7056-4EFC-B17F-C11B0A61D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7863" y="225712"/>
            <a:ext cx="7688416" cy="564194"/>
          </a:xfrm>
        </p:spPr>
        <p:txBody>
          <a:bodyPr lIns="0" tIns="0" rIns="0" bIns="0" anchor="t">
            <a:normAutofit/>
          </a:bodyPr>
          <a:lstStyle>
            <a:lvl1pPr algn="ctr">
              <a:defRPr sz="2000" cap="all" baseline="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55C4586-BF7A-4A63-9724-F90202601C7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08" y="172059"/>
            <a:ext cx="1699455" cy="564194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517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110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3239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70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658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09492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xmlns="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142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NUL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1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39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vmlDrawing" Target="../drawings/vmlDrawing30.vml"/><Relationship Id="rId15" Type="http://schemas.openxmlformats.org/officeDocument/2006/relationships/oleObject" Target="../embeddings/oleObject40.bin"/><Relationship Id="rId10" Type="http://schemas.openxmlformats.org/officeDocument/2006/relationships/tags" Target="../tags/tag92.xml"/><Relationship Id="rId4" Type="http://schemas.openxmlformats.org/officeDocument/2006/relationships/theme" Target="../theme/theme10.xml"/><Relationship Id="rId9" Type="http://schemas.openxmlformats.org/officeDocument/2006/relationships/tags" Target="../tags/tag91.xml"/><Relationship Id="rId14" Type="http://schemas.openxmlformats.org/officeDocument/2006/relationships/image" Target="NUL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18" Type="http://schemas.openxmlformats.org/officeDocument/2006/relationships/oleObject" Target="../embeddings/oleObject44.bin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33.vml"/><Relationship Id="rId12" Type="http://schemas.openxmlformats.org/officeDocument/2006/relationships/tags" Target="../tags/tag10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43.bin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11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104.xml"/><Relationship Id="rId10" Type="http://schemas.openxmlformats.org/officeDocument/2006/relationships/tags" Target="../tags/tag99.xml"/><Relationship Id="rId19" Type="http://schemas.openxmlformats.org/officeDocument/2006/relationships/image" Target="NUL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98.xml"/><Relationship Id="rId14" Type="http://schemas.openxmlformats.org/officeDocument/2006/relationships/tags" Target="../tags/tag10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vmlDrawing" Target="../drawings/vmlDrawing5.vml"/><Relationship Id="rId15" Type="http://schemas.openxmlformats.org/officeDocument/2006/relationships/oleObject" Target="../embeddings/oleObject7.bin"/><Relationship Id="rId10" Type="http://schemas.openxmlformats.org/officeDocument/2006/relationships/tags" Target="../tags/tag17.xml"/><Relationship Id="rId4" Type="http://schemas.openxmlformats.org/officeDocument/2006/relationships/theme" Target="../theme/theme2.xml"/><Relationship Id="rId9" Type="http://schemas.openxmlformats.org/officeDocument/2006/relationships/tags" Target="../tags/tag16.xml"/><Relationship Id="rId14" Type="http://schemas.openxmlformats.org/officeDocument/2006/relationships/image" Target="NUL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23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vmlDrawing" Target="../drawings/vmlDrawing8.vml"/><Relationship Id="rId15" Type="http://schemas.openxmlformats.org/officeDocument/2006/relationships/oleObject" Target="../embeddings/oleObject11.bin"/><Relationship Id="rId10" Type="http://schemas.openxmlformats.org/officeDocument/2006/relationships/tags" Target="../tags/tag26.xml"/><Relationship Id="rId4" Type="http://schemas.openxmlformats.org/officeDocument/2006/relationships/theme" Target="../theme/theme3.xml"/><Relationship Id="rId9" Type="http://schemas.openxmlformats.org/officeDocument/2006/relationships/tags" Target="../tags/tag25.xml"/><Relationship Id="rId14" Type="http://schemas.openxmlformats.org/officeDocument/2006/relationships/image" Target="NUL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vmlDrawing" Target="../drawings/vmlDrawing11.vml"/><Relationship Id="rId15" Type="http://schemas.openxmlformats.org/officeDocument/2006/relationships/oleObject" Target="../embeddings/oleObject15.bin"/><Relationship Id="rId10" Type="http://schemas.openxmlformats.org/officeDocument/2006/relationships/tags" Target="../tags/tag35.xml"/><Relationship Id="rId4" Type="http://schemas.openxmlformats.org/officeDocument/2006/relationships/theme" Target="../theme/theme4.xml"/><Relationship Id="rId9" Type="http://schemas.openxmlformats.org/officeDocument/2006/relationships/tags" Target="../tags/tag34.xml"/><Relationship Id="rId14" Type="http://schemas.openxmlformats.org/officeDocument/2006/relationships/image" Target="NUL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41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vmlDrawing" Target="../drawings/vmlDrawing14.vml"/><Relationship Id="rId15" Type="http://schemas.openxmlformats.org/officeDocument/2006/relationships/oleObject" Target="../embeddings/oleObject19.bin"/><Relationship Id="rId10" Type="http://schemas.openxmlformats.org/officeDocument/2006/relationships/tags" Target="../tags/tag44.xml"/><Relationship Id="rId4" Type="http://schemas.openxmlformats.org/officeDocument/2006/relationships/theme" Target="../theme/theme5.xml"/><Relationship Id="rId9" Type="http://schemas.openxmlformats.org/officeDocument/2006/relationships/tags" Target="../tags/tag43.xml"/><Relationship Id="rId14" Type="http://schemas.openxmlformats.org/officeDocument/2006/relationships/image" Target="NUL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vmlDrawing" Target="../drawings/vmlDrawing17.vml"/><Relationship Id="rId15" Type="http://schemas.openxmlformats.org/officeDocument/2006/relationships/oleObject" Target="../embeddings/oleObject23.bin"/><Relationship Id="rId10" Type="http://schemas.openxmlformats.org/officeDocument/2006/relationships/tags" Target="../tags/tag53.xml"/><Relationship Id="rId4" Type="http://schemas.openxmlformats.org/officeDocument/2006/relationships/theme" Target="../theme/theme6.xml"/><Relationship Id="rId9" Type="http://schemas.openxmlformats.org/officeDocument/2006/relationships/tags" Target="../tags/tag52.xml"/><Relationship Id="rId14" Type="http://schemas.openxmlformats.org/officeDocument/2006/relationships/image" Target="NUL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image" Target="NULL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oleObject" Target="../embeddings/oleObject27.bin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0.vml"/><Relationship Id="rId11" Type="http://schemas.openxmlformats.org/officeDocument/2006/relationships/tags" Target="../tags/tag62.xml"/><Relationship Id="rId5" Type="http://schemas.openxmlformats.org/officeDocument/2006/relationships/theme" Target="../theme/theme7.xml"/><Relationship Id="rId15" Type="http://schemas.openxmlformats.org/officeDocument/2006/relationships/oleObject" Target="../embeddings/oleObject26.bin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60.xml"/><Relationship Id="rId14" Type="http://schemas.openxmlformats.org/officeDocument/2006/relationships/tags" Target="../tags/tag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vmlDrawing" Target="../drawings/vmlDrawing24.vml"/><Relationship Id="rId15" Type="http://schemas.openxmlformats.org/officeDocument/2006/relationships/oleObject" Target="../embeddings/oleObject32.bin"/><Relationship Id="rId10" Type="http://schemas.openxmlformats.org/officeDocument/2006/relationships/tags" Target="../tags/tag74.xml"/><Relationship Id="rId4" Type="http://schemas.openxmlformats.org/officeDocument/2006/relationships/theme" Target="../theme/theme8.xml"/><Relationship Id="rId9" Type="http://schemas.openxmlformats.org/officeDocument/2006/relationships/tags" Target="../tags/tag73.xml"/><Relationship Id="rId14" Type="http://schemas.openxmlformats.org/officeDocument/2006/relationships/image" Target="NUL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35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vmlDrawing" Target="../drawings/vmlDrawing27.vml"/><Relationship Id="rId15" Type="http://schemas.openxmlformats.org/officeDocument/2006/relationships/oleObject" Target="../embeddings/oleObject36.bin"/><Relationship Id="rId10" Type="http://schemas.openxmlformats.org/officeDocument/2006/relationships/tags" Target="../tags/tag83.xml"/><Relationship Id="rId4" Type="http://schemas.openxmlformats.org/officeDocument/2006/relationships/theme" Target="../theme/theme9.xml"/><Relationship Id="rId9" Type="http://schemas.openxmlformats.org/officeDocument/2006/relationships/tags" Target="../tags/tag82.xml"/><Relationship Id="rId14" Type="http://schemas.openxmlformats.org/officeDocument/2006/relationships/image" Target="NUL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5" imgW="352" imgH="353" progId="TCLayout.ActiveDocument.1">
                  <p:embed/>
                </p:oleObj>
              </mc:Choice>
              <mc:Fallback>
                <p:oleObj name="Слайд think-cell" r:id="rId15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xmlns="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2700E5A1-5959-4167-9A85-FB67356E8B8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203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82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xmlns="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159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6" r:id="rId4"/>
    <p:sldLayoutId id="2147483777" r:id="rId5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99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06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46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22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74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Слайд think-cell" r:id="rId15" imgW="352" imgH="353" progId="TCLayout.ActiveDocument.1">
                  <p:embed/>
                </p:oleObj>
              </mc:Choice>
              <mc:Fallback>
                <p:oleObj name="Слайд think-cell" r:id="rId15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xmlns="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2700E5A1-5959-4167-9A85-FB67356E8B8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16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89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30.09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xmlns="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xmlns="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xmlns="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77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1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xmlns="" id="{A9BCA4C3-719B-9829-0EE3-126A46F22396}"/>
              </a:ext>
            </a:extLst>
          </p:cNvPr>
          <p:cNvSpPr/>
          <p:nvPr/>
        </p:nvSpPr>
        <p:spPr>
          <a:xfrm>
            <a:off x="5875051" y="1525027"/>
            <a:ext cx="6024387" cy="5094420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BD409F78-E6EF-5879-77E2-9B503E418CE5}"/>
              </a:ext>
            </a:extLst>
          </p:cNvPr>
          <p:cNvSpPr txBox="1"/>
          <p:nvPr/>
        </p:nvSpPr>
        <p:spPr>
          <a:xfrm>
            <a:off x="5933623" y="1667642"/>
            <a:ext cx="5907242" cy="495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ди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торную вакцинацию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тив COVID-19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енебрега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ами индивидуальной защит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боте с пациентами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на подведомственных участках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сроками, прошедшими с даты последней вакцинации против </a:t>
            </a:r>
            <a:r>
              <a:rPr lang="en-US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лиц старше 60 лет и имеющих хронические сопутствующие заболевания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ировать всех лиц старше 60 лет и имеющих 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необходимости вакцинации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ждые 6 месяцев;</a:t>
            </a:r>
          </a:p>
          <a:p>
            <a:pPr lvl="1" algn="just"/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гриппа до начала эпидемического сезона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– октябрь); </a:t>
            </a:r>
          </a:p>
          <a:p>
            <a:pPr lvl="1" algn="just">
              <a:lnSpc>
                <a:spcPct val="150000"/>
              </a:lnSpc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 отправлять на госпитализацию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ов, входящих в группы риска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е начало терапии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таршего возраста, с первых дней.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щательный сбор анамнеза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едотвращения рисков по возникновению осложнений хронических заболеваний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 сердечно-сосудистых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xmlns="" id="{19A48F4C-CAD0-ED1F-F066-F2E42B09EFA8}"/>
              </a:ext>
            </a:extLst>
          </p:cNvPr>
          <p:cNvSpPr/>
          <p:nvPr/>
        </p:nvSpPr>
        <p:spPr>
          <a:xfrm>
            <a:off x="155092" y="2164342"/>
            <a:ext cx="5468580" cy="3717789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D55DDD0-6254-4515-A791-02299716D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261" y="160068"/>
            <a:ext cx="7698452" cy="574093"/>
          </a:xfrm>
          <a:solidFill>
            <a:schemeClr val="bg1"/>
          </a:solidFill>
        </p:spPr>
        <p:txBody>
          <a:bodyPr vert="horz">
            <a:noAutofit/>
          </a:bodyPr>
          <a:lstStyle/>
          <a:p>
            <a:pPr algn="l"/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И НАСЕЛЕНИЯ И МЕДИЦИНСКИХ РАБОТНИКОВ  </a:t>
            </a:r>
            <a: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ЕДУПРЕЖДЕНИЮ НЕБЛАГОПРИЯТНЫХ ИСХОДОВ COVID-19</a:t>
            </a:r>
            <a: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ДРУГИХ ИНФЕКЦИЙ</a:t>
            </a:r>
            <a:b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xmlns="" id="{3D3FAE74-2A60-70ED-3D2A-9F0E52BD61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62" y="184536"/>
            <a:ext cx="522066" cy="574093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A8DF86EA-A11C-65F6-06AB-D8B5DC75ADB5}"/>
              </a:ext>
            </a:extLst>
          </p:cNvPr>
          <p:cNvSpPr txBox="1"/>
          <p:nvPr/>
        </p:nvSpPr>
        <p:spPr>
          <a:xfrm>
            <a:off x="6915506" y="1027404"/>
            <a:ext cx="47621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медицинских работников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EEC40EE7-B125-92FC-1BDA-AC60B0C56DF8}"/>
              </a:ext>
            </a:extLst>
          </p:cNvPr>
          <p:cNvSpPr txBox="1"/>
          <p:nvPr/>
        </p:nvSpPr>
        <p:spPr>
          <a:xfrm>
            <a:off x="1678902" y="1667642"/>
            <a:ext cx="329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населения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41B709D2-9F92-1858-3C99-D3315CA2A526}"/>
              </a:ext>
            </a:extLst>
          </p:cNvPr>
          <p:cNvSpPr txBox="1"/>
          <p:nvPr/>
        </p:nvSpPr>
        <p:spPr>
          <a:xfrm>
            <a:off x="263475" y="2188811"/>
            <a:ext cx="531206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 гражданам: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, в том числе повторно  </a:t>
            </a: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 </a:t>
            </a:r>
            <a:r>
              <a:rPr lang="en-US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ервых респираторных симптомах обращаться </a:t>
            </a:r>
            <a:b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врачу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заниматься самолечением</a:t>
            </a:r>
          </a:p>
          <a:p>
            <a:pPr algn="just"/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м старше 60 лет и/или с сопутствующими заболеваниями: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сить маски или респиратор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ственных местах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ть в состоянии компенсации (своевременно лечить, не допускать обострения, декомпенсации) имеющиеся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цинироваться  </a:t>
            </a:r>
            <a:r>
              <a:rPr lang="ru-RU" sz="1200" b="1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моментно </a:t>
            </a: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иппа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</a:t>
            </a:r>
            <a:r>
              <a:rPr lang="ru-RU" sz="1200" dirty="0" smtClean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ком ухудшении самочувств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емпературе выше 38,5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зывать скорую помощь</a:t>
            </a:r>
          </a:p>
        </p:txBody>
      </p:sp>
      <p:pic>
        <p:nvPicPr>
          <p:cNvPr id="4" name="Рисунок 3" descr="Всеобщий доступ">
            <a:extLst>
              <a:ext uri="{FF2B5EF4-FFF2-40B4-BE49-F238E27FC236}">
                <a16:creationId xmlns:a16="http://schemas.microsoft.com/office/drawing/2014/main" xmlns="" id="{0FDC1908-C90D-D513-9036-2D2B132F561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64502" y="1311708"/>
            <a:ext cx="914400" cy="914400"/>
          </a:xfrm>
          <a:prstGeom prst="rect">
            <a:avLst/>
          </a:prstGeom>
        </p:spPr>
      </p:pic>
      <p:pic>
        <p:nvPicPr>
          <p:cNvPr id="8" name="Рисунок 7" descr="Доктор">
            <a:extLst>
              <a:ext uri="{FF2B5EF4-FFF2-40B4-BE49-F238E27FC236}">
                <a16:creationId xmlns:a16="http://schemas.microsoft.com/office/drawing/2014/main" xmlns="" id="{617BF43E-93A1-DD48-9317-CEAAE23C9C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242235" y="781954"/>
            <a:ext cx="743073" cy="74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10.xml><?xml version="1.0" encoding="utf-8"?>
<a:theme xmlns:a="http://schemas.openxmlformats.org/drawingml/2006/main" name="13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11.xml><?xml version="1.0" encoding="utf-8"?>
<a:theme xmlns:a="http://schemas.openxmlformats.org/drawingml/2006/main" name="2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3.xml><?xml version="1.0" encoding="utf-8"?>
<a:theme xmlns:a="http://schemas.openxmlformats.org/drawingml/2006/main" name="6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4.xml><?xml version="1.0" encoding="utf-8"?>
<a:theme xmlns:a="http://schemas.openxmlformats.org/drawingml/2006/main" name="7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5.xml><?xml version="1.0" encoding="utf-8"?>
<a:theme xmlns:a="http://schemas.openxmlformats.org/drawingml/2006/main" name="9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6.xml><?xml version="1.0" encoding="utf-8"?>
<a:theme xmlns:a="http://schemas.openxmlformats.org/drawingml/2006/main" name="10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7.xml><?xml version="1.0" encoding="utf-8"?>
<a:theme xmlns:a="http://schemas.openxmlformats.org/drawingml/2006/main" name="1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8.xml><?xml version="1.0" encoding="utf-8"?>
<a:theme xmlns:a="http://schemas.openxmlformats.org/drawingml/2006/main" name="11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9.xml><?xml version="1.0" encoding="utf-8"?>
<a:theme xmlns:a="http://schemas.openxmlformats.org/drawingml/2006/main" name="12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66</TotalTime>
  <Words>158</Words>
  <Application>Microsoft Office PowerPoint</Application>
  <PresentationFormat>Широкоэкранный</PresentationFormat>
  <Paragraphs>30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3" baseType="lpstr">
      <vt:lpstr>Arial</vt:lpstr>
      <vt:lpstr>Calibri</vt:lpstr>
      <vt:lpstr>Calibri Light</vt:lpstr>
      <vt:lpstr>Roboto</vt:lpstr>
      <vt:lpstr>Roboto Light</vt:lpstr>
      <vt:lpstr>Roboto Medium</vt:lpstr>
      <vt:lpstr>Roboto Thin</vt:lpstr>
      <vt:lpstr>SF UI Display</vt:lpstr>
      <vt:lpstr>Tahoma</vt:lpstr>
      <vt:lpstr>Wingdings</vt:lpstr>
      <vt:lpstr>ЦНИИОИЗ_08.10</vt:lpstr>
      <vt:lpstr>8_Шаблон Нацапректы</vt:lpstr>
      <vt:lpstr>6_Шаблон Нацапректы</vt:lpstr>
      <vt:lpstr>7_Шаблон Нацапректы</vt:lpstr>
      <vt:lpstr>9_Шаблон Нацапректы</vt:lpstr>
      <vt:lpstr>10_Шаблон Нацапректы</vt:lpstr>
      <vt:lpstr>1_ЦНИИОИЗ_08.10</vt:lpstr>
      <vt:lpstr>11_Шаблон Нацапректы</vt:lpstr>
      <vt:lpstr>12_Шаблон Нацапректы</vt:lpstr>
      <vt:lpstr>13_Шаблон Нацапректы</vt:lpstr>
      <vt:lpstr>2_ЦНИИОИЗ_08.10</vt:lpstr>
      <vt:lpstr>Слайд think-cell</vt:lpstr>
      <vt:lpstr>РЕКОМЕНДАЦИИ ДЛЯ И НАСЕЛЕНИЯ И МЕДИЦИНСКИХ РАБОТНИКОВ   ПО ПРЕДУПРЕЖДЕНИЮ НЕБЛАГОПРИЯТНЫХ ИСХОДОВ COVID-19  И ДРУГИХ ИНФЕКЦИЙ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Пакскина Наталья Давыдовна</cp:lastModifiedBy>
  <cp:revision>2039</cp:revision>
  <cp:lastPrinted>2021-07-12T19:07:52Z</cp:lastPrinted>
  <dcterms:created xsi:type="dcterms:W3CDTF">2021-03-19T07:53:12Z</dcterms:created>
  <dcterms:modified xsi:type="dcterms:W3CDTF">2022-09-30T10:51:20Z</dcterms:modified>
</cp:coreProperties>
</file>